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2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65AB0A-5E6A-4A6E-A466-98EA7772229E}" v="1" dt="2024-09-05T13:50:48.5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64" d="100"/>
          <a:sy n="64" d="100"/>
        </p:scale>
        <p:origin x="1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1CC19420-D978-433F-80D8-28BB83E31BF5}"/>
    <pc:docChg chg="custSel addSld delSld modSld modMainMaster replTag">
      <pc:chgData name="vonWaldow, Ulrich" userId="c64b3fe1-2fbf-4408-adc4-30add62e991f" providerId="ADAL" clId="{1CC19420-D978-433F-80D8-28BB83E31BF5}" dt="2024-08-23T14:14:00.863" v="68"/>
      <pc:docMkLst>
        <pc:docMk/>
      </pc:docMkLst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2116952522" sldId="260"/>
        </pc:sldMkLst>
      </pc:sldChg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743316995" sldId="261"/>
        </pc:sldMkLst>
      </pc:sldChg>
      <pc:sldChg chg="addSp delSp modSp mod chgLayout">
        <pc:chgData name="vonWaldow, Ulrich" userId="c64b3fe1-2fbf-4408-adc4-30add62e991f" providerId="ADAL" clId="{1CC19420-D978-433F-80D8-28BB83E31BF5}" dt="2024-08-23T14:14:00.863" v="68"/>
        <pc:sldMkLst>
          <pc:docMk/>
          <pc:sldMk cId="1636317749" sldId="262"/>
        </pc:sldMkLst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2" creationId="{3DE9F1E8-E23C-BA97-0FF4-142D28636477}"/>
          </ac:spMkLst>
        </pc:spChg>
        <pc:spChg chg="add mod">
          <ac:chgData name="vonWaldow, Ulrich" userId="c64b3fe1-2fbf-4408-adc4-30add62e991f" providerId="ADAL" clId="{1CC19420-D978-433F-80D8-28BB83E31BF5}" dt="2024-08-23T14:11:10.535" v="55"/>
          <ac:spMkLst>
            <pc:docMk/>
            <pc:sldMk cId="1636317749" sldId="262"/>
            <ac:spMk id="2" creationId="{7721F95A-D623-50C0-2469-D0CD52DBF9C9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3" creationId="{104455D8-15DF-7342-03F4-6D4779B2F4B8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4" creationId="{ADC5C561-95B7-EDED-E1C2-BC8E95E1699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5" creationId="{8F2CFFFC-0682-C681-302E-EDB8C3F635E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6" creationId="{F0254126-33BB-345A-6DA1-7326E114090F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7" creationId="{4D8DB89D-8E75-A680-93DC-24173272537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8" creationId="{E9812FA7-7A28-E0AB-CF03-8370D852284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9" creationId="{C1EDC3A2-32CC-B2CD-B46A-B65087129E10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0" creationId="{1EDD0601-301F-39BC-B4B6-314C8113CD6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1" creationId="{B7E3EDD0-D5A4-C36C-C9B3-91E1390A645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2" creationId="{B1181660-FF1C-B237-CA86-7BBFDEC326AC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3" creationId="{CCED05CD-63F1-43A9-A728-D086A1E6A3E5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4" creationId="{E3FF742A-C9D5-9230-AEC8-193EE6FE4BD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5" creationId="{6843FB82-8758-C070-3173-AEBD7187D5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6" creationId="{AAB9A6B8-7C41-FABA-A7FF-FFD0F5A34D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7" creationId="{21F0A4FA-9719-896F-83E2-B2F618AF45F8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8" creationId="{3809DB52-419E-5F4D-4462-0240F5C38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9" creationId="{68EF5DD0-4DC6-AFA5-C988-02BC2AD5FBE0}"/>
          </ac:spMkLst>
        </pc:spChg>
        <pc:spChg chg="mod ord">
          <ac:chgData name="vonWaldow, Ulrich" userId="c64b3fe1-2fbf-4408-adc4-30add62e991f" providerId="ADAL" clId="{1CC19420-D978-433F-80D8-28BB83E31BF5}" dt="2024-08-23T14:14:00.863" v="6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2" creationId="{048F7D3C-2A73-0CA3-FEE0-0E951B9AA65A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3" creationId="{5478CD02-1C50-F1DD-879F-D9456DDFA90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8" creationId="{02884E67-468E-0855-DF3C-A8D0E2177449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9" creationId="{B9279329-D925-A88E-93AC-EA0FB02029D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0" creationId="{7FB9CF18-A9C6-5785-50F8-0E78D149BF4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1" creationId="{8B09D566-1492-06C4-1410-28C023CA9FCE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2" creationId="{A3A628C4-84F3-50A8-C9B5-CB791DF59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3" creationId="{F3322D94-E157-95C8-E9CD-796D1041CD4D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4" creationId="{AA6366A9-1954-5255-B43B-40E8C31C88F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5" creationId="{62F9C49E-413A-6A0A-6FA4-D9A367ED20D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7" creationId="{B8FEAFE6-0F90-9C16-14A7-7FBA2038D9C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8" creationId="{3E0FBD43-4E2E-5E3B-5A91-8E7BE842A5C6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9" creationId="{B0FD6CD6-7294-0524-F8CB-4F3D92871C3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0" creationId="{2B41418D-6A5C-D445-AF59-FF8972A2BEA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1" creationId="{2A6A6ECB-1BCB-F1B9-C0E3-29D4FADC8961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2" creationId="{037999C8-7E95-A864-897D-CBC4040B615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3" creationId="{3C1F963B-0121-BA88-CB73-5821D483B8A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4" creationId="{634830F4-D29B-9D36-DE90-590FCA7C6D9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5" creationId="{58D96BBD-37C5-DE24-A691-1EFC3C0430E9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1CC19420-D978-433F-80D8-28BB83E31BF5}" dt="2024-08-23T14:14:00.863" v="6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add del">
        <pc:chgData name="vonWaldow, Ulrich" userId="c64b3fe1-2fbf-4408-adc4-30add62e991f" providerId="ADAL" clId="{1CC19420-D978-433F-80D8-28BB83E31BF5}" dt="2024-08-23T13:10:53.860" v="50" actId="47"/>
        <pc:sldMkLst>
          <pc:docMk/>
          <pc:sldMk cId="1313267725" sldId="263"/>
        </pc:sldMkLst>
      </pc:sldChg>
      <pc:sldChg chg="new del">
        <pc:chgData name="vonWaldow, Ulrich" userId="c64b3fe1-2fbf-4408-adc4-30add62e991f" providerId="ADAL" clId="{1CC19420-D978-433F-80D8-28BB83E31BF5}" dt="2024-08-23T12:25:22.913" v="42" actId="47"/>
        <pc:sldMkLst>
          <pc:docMk/>
          <pc:sldMk cId="1513517959" sldId="263"/>
        </pc:sldMkLst>
      </pc:sldChg>
      <pc:sldChg chg="new del">
        <pc:chgData name="vonWaldow, Ulrich" userId="c64b3fe1-2fbf-4408-adc4-30add62e991f" providerId="ADAL" clId="{1CC19420-D978-433F-80D8-28BB83E31BF5}" dt="2024-08-23T08:53:51.800" v="17" actId="47"/>
        <pc:sldMkLst>
          <pc:docMk/>
          <pc:sldMk cId="2477861672" sldId="263"/>
        </pc:sldMkLst>
      </pc:sldChg>
      <pc:sldChg chg="new del">
        <pc:chgData name="vonWaldow, Ulrich" userId="c64b3fe1-2fbf-4408-adc4-30add62e991f" providerId="ADAL" clId="{1CC19420-D978-433F-80D8-28BB83E31BF5}" dt="2024-08-23T13:11:06.080" v="52" actId="47"/>
        <pc:sldMkLst>
          <pc:docMk/>
          <pc:sldMk cId="3132529742" sldId="263"/>
        </pc:sldMkLst>
      </pc:sldChg>
      <pc:sldChg chg="add del">
        <pc:chgData name="vonWaldow, Ulrich" userId="c64b3fe1-2fbf-4408-adc4-30add62e991f" providerId="ADAL" clId="{1CC19420-D978-433F-80D8-28BB83E31BF5}" dt="2024-08-23T08:55:36.303" v="40" actId="47"/>
        <pc:sldMkLst>
          <pc:docMk/>
          <pc:sldMk cId="4078235211" sldId="263"/>
        </pc:sldMkLst>
      </pc:sldChg>
      <pc:sldMasterChg chg="delSldLayout modSldLayout">
        <pc:chgData name="vonWaldow, Ulrich" userId="c64b3fe1-2fbf-4408-adc4-30add62e991f" providerId="ADAL" clId="{1CC19420-D978-433F-80D8-28BB83E31BF5}" dt="2024-08-23T14:13:55.135" v="62" actId="114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1CC19420-D978-433F-80D8-28BB83E31BF5}" dt="2024-08-23T08:51:51.183" v="14" actId="2696"/>
          <pc:sldLayoutMkLst>
            <pc:docMk/>
            <pc:sldMasterMk cId="3620642421" sldId="2147483927"/>
            <pc:sldLayoutMk cId="960772129" sldId="2147483958"/>
          </pc:sldLayoutMkLst>
        </pc:sldLayoutChg>
        <pc:sldLayoutChg chg="del">
          <pc:chgData name="vonWaldow, Ulrich" userId="c64b3fe1-2fbf-4408-adc4-30add62e991f" providerId="ADAL" clId="{1CC19420-D978-433F-80D8-28BB83E31BF5}" dt="2024-08-23T08:51:50.639" v="13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modSp">
          <pc:chgData name="vonWaldow, Ulrich" userId="c64b3fe1-2fbf-4408-adc4-30add62e991f" providerId="ADAL" clId="{1CC19420-D978-433F-80D8-28BB83E31BF5}" dt="2024-08-23T14:13:55.135" v="62" actId="114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1CC19420-D978-433F-80D8-28BB83E31BF5}" dt="2024-08-23T14:13:55.135" v="62" actId="114"/>
            <ac:spMkLst>
              <pc:docMk/>
              <pc:sldMasterMk cId="3620642421" sldId="2147483927"/>
              <pc:sldLayoutMk cId="610450036" sldId="2147483960"/>
              <ac:spMk id="40" creationId="{27C2E5AD-BDA1-9F17-AB59-857A7131DACF}"/>
            </ac:spMkLst>
          </pc:spChg>
          <pc:spChg chg="mod">
            <ac:chgData name="vonWaldow, Ulrich" userId="c64b3fe1-2fbf-4408-adc4-30add62e991f" providerId="ADAL" clId="{1CC19420-D978-433F-80D8-28BB83E31BF5}" dt="2024-08-23T08:53:37.921" v="15" actId="962"/>
            <ac:spMkLst>
              <pc:docMk/>
              <pc:sldMasterMk cId="3620642421" sldId="2147483927"/>
              <pc:sldLayoutMk cId="610450036" sldId="2147483960"/>
              <ac:spMk id="46" creationId="{98E1A5E2-65E9-D4C5-7BFA-247F9516CC5C}"/>
            </ac:spMkLst>
          </pc:spChg>
        </pc:sldLayoutChg>
      </pc:sldMasterChg>
    </pc:docChg>
  </pc:docChgLst>
  <pc:docChgLst>
    <pc:chgData name="vonWaldow, Ulrich" userId="c64b3fe1-2fbf-4408-adc4-30add62e991f" providerId="ADAL" clId="{7565AB0A-5E6A-4A6E-A466-98EA7772229E}"/>
    <pc:docChg chg="undo redo custSel modSld modMainMaster">
      <pc:chgData name="vonWaldow, Ulrich" userId="c64b3fe1-2fbf-4408-adc4-30add62e991f" providerId="ADAL" clId="{7565AB0A-5E6A-4A6E-A466-98EA7772229E}" dt="2024-09-05T13:56:31.577" v="39" actId="6549"/>
      <pc:docMkLst>
        <pc:docMk/>
      </pc:docMkLst>
      <pc:sldChg chg="addSp delSp modSp mod">
        <pc:chgData name="vonWaldow, Ulrich" userId="c64b3fe1-2fbf-4408-adc4-30add62e991f" providerId="ADAL" clId="{7565AB0A-5E6A-4A6E-A466-98EA7772229E}" dt="2024-09-05T13:56:31.577" v="39" actId="6549"/>
        <pc:sldMkLst>
          <pc:docMk/>
          <pc:sldMk cId="1636317749" sldId="262"/>
        </pc:sldMkLst>
        <pc:spChg chg="add del mod">
          <ac:chgData name="vonWaldow, Ulrich" userId="c64b3fe1-2fbf-4408-adc4-30add62e991f" providerId="ADAL" clId="{7565AB0A-5E6A-4A6E-A466-98EA7772229E}" dt="2024-09-05T13:53:44.371" v="38" actId="478"/>
          <ac:spMkLst>
            <pc:docMk/>
            <pc:sldMk cId="1636317749" sldId="262"/>
            <ac:spMk id="2" creationId="{DD6C6BF0-988A-A0EA-B1DA-C8D082C8539C}"/>
          </ac:spMkLst>
        </pc:spChg>
        <pc:spChg chg="mod">
          <ac:chgData name="vonWaldow, Ulrich" userId="c64b3fe1-2fbf-4408-adc4-30add62e991f" providerId="ADAL" clId="{7565AB0A-5E6A-4A6E-A466-98EA7772229E}" dt="2024-09-05T13:53:25.879" v="36"/>
          <ac:spMkLst>
            <pc:docMk/>
            <pc:sldMk cId="1636317749" sldId="262"/>
            <ac:spMk id="21" creationId="{43A58038-ABE8-5392-73A3-BEDB4C1F356C}"/>
          </ac:spMkLst>
        </pc:spChg>
        <pc:spChg chg="mod">
          <ac:chgData name="vonWaldow, Ulrich" userId="c64b3fe1-2fbf-4408-adc4-30add62e991f" providerId="ADAL" clId="{7565AB0A-5E6A-4A6E-A466-98EA7772229E}" dt="2024-09-05T13:53:33.616" v="37"/>
          <ac:spMkLst>
            <pc:docMk/>
            <pc:sldMk cId="1636317749" sldId="262"/>
            <ac:spMk id="22" creationId="{048F7D3C-2A73-0CA3-FEE0-0E951B9AA65A}"/>
          </ac:spMkLst>
        </pc:spChg>
        <pc:spChg chg="mod">
          <ac:chgData name="vonWaldow, Ulrich" userId="c64b3fe1-2fbf-4408-adc4-30add62e991f" providerId="ADAL" clId="{7565AB0A-5E6A-4A6E-A466-98EA7772229E}" dt="2024-09-05T13:51:23.693" v="29"/>
          <ac:spMkLst>
            <pc:docMk/>
            <pc:sldMk cId="1636317749" sldId="262"/>
            <ac:spMk id="24" creationId="{5F27A636-BB37-E559-5CCA-6E21CDD4F35B}"/>
          </ac:spMkLst>
        </pc:spChg>
        <pc:spChg chg="mod">
          <ac:chgData name="vonWaldow, Ulrich" userId="c64b3fe1-2fbf-4408-adc4-30add62e991f" providerId="ADAL" clId="{7565AB0A-5E6A-4A6E-A466-98EA7772229E}" dt="2024-09-05T13:56:31.577" v="39" actId="6549"/>
          <ac:spMkLst>
            <pc:docMk/>
            <pc:sldMk cId="1636317749" sldId="262"/>
            <ac:spMk id="28" creationId="{02884E67-468E-0855-DF3C-A8D0E2177449}"/>
          </ac:spMkLst>
        </pc:spChg>
      </pc:sldChg>
      <pc:sldMasterChg chg="modSldLayout">
        <pc:chgData name="vonWaldow, Ulrich" userId="c64b3fe1-2fbf-4408-adc4-30add62e991f" providerId="ADAL" clId="{7565AB0A-5E6A-4A6E-A466-98EA7772229E}" dt="2024-08-26T10:58:04.057" v="17" actId="20577"/>
        <pc:sldMasterMkLst>
          <pc:docMk/>
          <pc:sldMasterMk cId="3620642421" sldId="2147483927"/>
        </pc:sldMasterMkLst>
        <pc:sldLayoutChg chg="modSp mod">
          <pc:chgData name="vonWaldow, Ulrich" userId="c64b3fe1-2fbf-4408-adc4-30add62e991f" providerId="ADAL" clId="{7565AB0A-5E6A-4A6E-A466-98EA7772229E}" dt="2024-08-26T10:58:04.057" v="17" actId="20577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7565AB0A-5E6A-4A6E-A466-98EA7772229E}" dt="2024-08-26T10:57:31.730" v="1" actId="14100"/>
            <ac:spMkLst>
              <pc:docMk/>
              <pc:sldMasterMk cId="3620642421" sldId="2147483927"/>
              <pc:sldLayoutMk cId="610450036" sldId="2147483960"/>
              <ac:spMk id="31" creationId="{B76B3A3E-D5B9-E395-0E5C-101C76045CC7}"/>
            </ac:spMkLst>
          </pc:spChg>
          <pc:spChg chg="mod">
            <ac:chgData name="vonWaldow, Ulrich" userId="c64b3fe1-2fbf-4408-adc4-30add62e991f" providerId="ADAL" clId="{7565AB0A-5E6A-4A6E-A466-98EA7772229E}" dt="2024-08-26T10:57:38.453" v="3" actId="6549"/>
            <ac:spMkLst>
              <pc:docMk/>
              <pc:sldMasterMk cId="3620642421" sldId="2147483927"/>
              <pc:sldLayoutMk cId="610450036" sldId="2147483960"/>
              <ac:spMk id="44" creationId="{917773B7-62C0-0443-00E0-8FF1D8BEBE45}"/>
            </ac:spMkLst>
          </pc:spChg>
          <pc:spChg chg="mod">
            <ac:chgData name="vonWaldow, Ulrich" userId="c64b3fe1-2fbf-4408-adc4-30add62e991f" providerId="ADAL" clId="{7565AB0A-5E6A-4A6E-A466-98EA7772229E}" dt="2024-08-26T10:58:04.057" v="17" actId="20577"/>
            <ac:spMkLst>
              <pc:docMk/>
              <pc:sldMasterMk cId="3620642421" sldId="2147483927"/>
              <pc:sldLayoutMk cId="610450036" sldId="2147483960"/>
              <ac:spMk id="60" creationId="{E3937068-94E5-CCC7-1A40-53573519CBD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 i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Domain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4478123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Lösungskonz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Potenziale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7B8F5580-A789-1203-4FC7-668A3D01CC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85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8F5580-A789-1203-4FC7-668A3D01C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ctiontitle">
            <a:extLst>
              <a:ext uri="{FF2B5EF4-FFF2-40B4-BE49-F238E27FC236}">
                <a16:creationId xmlns:a16="http://schemas.microsoft.com/office/drawing/2014/main" id="{726E5BEB-613B-0FB6-217C-190F6CC6E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22" name="Solution concept">
            <a:extLst>
              <a:ext uri="{FF2B5EF4-FFF2-40B4-BE49-F238E27FC236}">
                <a16:creationId xmlns:a16="http://schemas.microsoft.com/office/drawing/2014/main" id="{048F7D3C-2A73-0CA3-FEE0-0E951B9AA6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7454" y="3159363"/>
            <a:ext cx="5428713" cy="1306248"/>
          </a:xfrm>
        </p:spPr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21" name="Initial situation">
            <a:extLst>
              <a:ext uri="{FF2B5EF4-FFF2-40B4-BE49-F238E27FC236}">
                <a16:creationId xmlns:a16="http://schemas.microsoft.com/office/drawing/2014/main" id="{43A58038-ABE8-5392-73A3-BEDB4C1F3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808" y="1383975"/>
            <a:ext cx="5466359" cy="1365365"/>
          </a:xfrm>
        </p:spPr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48" name="Statement">
            <a:extLst>
              <a:ext uri="{FF2B5EF4-FFF2-40B4-BE49-F238E27FC236}">
                <a16:creationId xmlns:a16="http://schemas.microsoft.com/office/drawing/2014/main" id="{047960EC-5F49-5061-585A-3BB44708B7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14311" y="1260038"/>
            <a:ext cx="4696638" cy="1319198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49" name="Picture_1">
            <a:extLst>
              <a:ext uri="{FF2B5EF4-FFF2-40B4-BE49-F238E27FC236}">
                <a16:creationId xmlns:a16="http://schemas.microsoft.com/office/drawing/2014/main" id="{5260D3B4-2FC5-3586-EC71-3C47D72FDE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8949" y="3175810"/>
            <a:ext cx="5567363" cy="3097991"/>
          </a:xfrm>
        </p:spPr>
        <p:txBody>
          <a:bodyPr/>
          <a:lstStyle/>
          <a:p>
            <a:r>
              <a:rPr lang="en-US" dirty="0"/>
              <a:t>Picture_1</a:t>
            </a:r>
          </a:p>
        </p:txBody>
      </p:sp>
      <p:sp>
        <p:nvSpPr>
          <p:cNvPr id="28" name="Industry">
            <a:extLst>
              <a:ext uri="{FF2B5EF4-FFF2-40B4-BE49-F238E27FC236}">
                <a16:creationId xmlns:a16="http://schemas.microsoft.com/office/drawing/2014/main" id="{02884E67-468E-0855-DF3C-A8D0E21774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 dirty="0"/>
              <a:t>Industry</a:t>
            </a:r>
          </a:p>
        </p:txBody>
      </p:sp>
      <p:sp>
        <p:nvSpPr>
          <p:cNvPr id="24" name="Company">
            <a:extLst>
              <a:ext uri="{FF2B5EF4-FFF2-40B4-BE49-F238E27FC236}">
                <a16:creationId xmlns:a16="http://schemas.microsoft.com/office/drawing/2014/main" id="{5F27A636-BB37-E559-5CCA-6E21CDD4F3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4018" y="-683511"/>
            <a:ext cx="2966720" cy="211203"/>
          </a:xfrm>
        </p:spPr>
        <p:txBody>
          <a:bodyPr/>
          <a:lstStyle/>
          <a:p>
            <a:r>
              <a:rPr lang="en-US" dirty="0"/>
              <a:t>'Company</a:t>
            </a:r>
          </a:p>
        </p:txBody>
      </p:sp>
      <p:sp>
        <p:nvSpPr>
          <p:cNvPr id="25" name="Person responsible">
            <a:extLst>
              <a:ext uri="{FF2B5EF4-FFF2-40B4-BE49-F238E27FC236}">
                <a16:creationId xmlns:a16="http://schemas.microsoft.com/office/drawing/2014/main" id="{C2A01D36-154B-240E-E2C0-1B0051E956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4018" y="-373369"/>
            <a:ext cx="2966720" cy="211203"/>
          </a:xfrm>
        </p:spPr>
        <p:txBody>
          <a:bodyPr/>
          <a:lstStyle/>
          <a:p>
            <a:r>
              <a:rPr lang="en-US"/>
              <a:t>Person responsible</a:t>
            </a:r>
            <a:endParaRPr lang="en-US" dirty="0"/>
          </a:p>
        </p:txBody>
      </p:sp>
      <p:sp>
        <p:nvSpPr>
          <p:cNvPr id="26" name="ID">
            <a:extLst>
              <a:ext uri="{FF2B5EF4-FFF2-40B4-BE49-F238E27FC236}">
                <a16:creationId xmlns:a16="http://schemas.microsoft.com/office/drawing/2014/main" id="{CD383C24-CE5E-0ED2-84A6-C4E1547B22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4" y="-990610"/>
            <a:ext cx="828000" cy="828444"/>
          </a:xfrm>
        </p:spPr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27" name="Domain">
            <a:extLst>
              <a:ext uri="{FF2B5EF4-FFF2-40B4-BE49-F238E27FC236}">
                <a16:creationId xmlns:a16="http://schemas.microsoft.com/office/drawing/2014/main" id="{AF6B8439-D011-1578-53EA-A11E7E2C43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4018" y="-990610"/>
            <a:ext cx="2966720" cy="211203"/>
          </a:xfrm>
        </p:spPr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30" name="KPI 1">
            <a:extLst>
              <a:ext uri="{FF2B5EF4-FFF2-40B4-BE49-F238E27FC236}">
                <a16:creationId xmlns:a16="http://schemas.microsoft.com/office/drawing/2014/main" id="{7FB9CF18-A9C6-5785-50F8-0E78D149BF4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67454" y="5088549"/>
            <a:ext cx="1687125" cy="276999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50" name="Description KPI 1">
            <a:extLst>
              <a:ext uri="{FF2B5EF4-FFF2-40B4-BE49-F238E27FC236}">
                <a16:creationId xmlns:a16="http://schemas.microsoft.com/office/drawing/2014/main" id="{527B7E85-3338-7165-6A42-FC40E52E0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7455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32" name="KPI 2">
            <a:extLst>
              <a:ext uri="{FF2B5EF4-FFF2-40B4-BE49-F238E27FC236}">
                <a16:creationId xmlns:a16="http://schemas.microsoft.com/office/drawing/2014/main" id="{A3A628C4-84F3-50A8-C9B5-CB791DF594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38248" y="5088549"/>
            <a:ext cx="1687125" cy="276999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51" name="Description KPI 2">
            <a:extLst>
              <a:ext uri="{FF2B5EF4-FFF2-40B4-BE49-F238E27FC236}">
                <a16:creationId xmlns:a16="http://schemas.microsoft.com/office/drawing/2014/main" id="{8D5096C3-287E-5EAD-E0E6-5BBB7E1A0B9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538248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34" name="KPI 3">
            <a:extLst>
              <a:ext uri="{FF2B5EF4-FFF2-40B4-BE49-F238E27FC236}">
                <a16:creationId xmlns:a16="http://schemas.microsoft.com/office/drawing/2014/main" id="{AA6366A9-1954-5255-B43B-40E8C31C88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09041" y="5088549"/>
            <a:ext cx="1687125" cy="276999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52" name="Description KPI 3">
            <a:extLst>
              <a:ext uri="{FF2B5EF4-FFF2-40B4-BE49-F238E27FC236}">
                <a16:creationId xmlns:a16="http://schemas.microsoft.com/office/drawing/2014/main" id="{88EADF9F-A0E9-E8C7-B183-754B048BB54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09041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1636317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Props1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Breitbild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5T13:56:3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